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7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45ECF5-0800-429A-962F-ECADE0BC6F6B}" v="1" dt="2024-02-29T10:35:13.35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80" autoAdjust="0"/>
  </p:normalViewPr>
  <p:slideViewPr>
    <p:cSldViewPr snapToGrid="0">
      <p:cViewPr varScale="1">
        <p:scale>
          <a:sx n="62" d="100"/>
          <a:sy n="62" d="100"/>
        </p:scale>
        <p:origin x="828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nha, Aman" userId="acd6a88c-5a2e-4afa-9ff2-2f334abdb327" providerId="ADAL" clId="{BA45ECF5-0800-429A-962F-ECADE0BC6F6B}"/>
    <pc:docChg chg="modSld">
      <pc:chgData name="Sinha, Aman" userId="acd6a88c-5a2e-4afa-9ff2-2f334abdb327" providerId="ADAL" clId="{BA45ECF5-0800-429A-962F-ECADE0BC6F6B}" dt="2024-02-29T10:35:25.328" v="67" actId="14100"/>
      <pc:docMkLst>
        <pc:docMk/>
      </pc:docMkLst>
      <pc:sldChg chg="modSp mod">
        <pc:chgData name="Sinha, Aman" userId="acd6a88c-5a2e-4afa-9ff2-2f334abdb327" providerId="ADAL" clId="{BA45ECF5-0800-429A-962F-ECADE0BC6F6B}" dt="2024-02-29T10:35:25.328" v="67" actId="14100"/>
        <pc:sldMkLst>
          <pc:docMk/>
          <pc:sldMk cId="1014096846" sldId="270"/>
        </pc:sldMkLst>
        <pc:spChg chg="mod">
          <ac:chgData name="Sinha, Aman" userId="acd6a88c-5a2e-4afa-9ff2-2f334abdb327" providerId="ADAL" clId="{BA45ECF5-0800-429A-962F-ECADE0BC6F6B}" dt="2024-02-29T10:32:55.513" v="63" actId="20577"/>
          <ac:spMkLst>
            <pc:docMk/>
            <pc:sldMk cId="1014096846" sldId="270"/>
            <ac:spMk id="39" creationId="{B1900919-1431-8A4C-A506-B21D5CCA9D3C}"/>
          </ac:spMkLst>
        </pc:spChg>
        <pc:spChg chg="mod">
          <ac:chgData name="Sinha, Aman" userId="acd6a88c-5a2e-4afa-9ff2-2f334abdb327" providerId="ADAL" clId="{BA45ECF5-0800-429A-962F-ECADE0BC6F6B}" dt="2024-02-29T10:30:32.976" v="55" actId="20577"/>
          <ac:spMkLst>
            <pc:docMk/>
            <pc:sldMk cId="1014096846" sldId="270"/>
            <ac:spMk id="41" creationId="{C650DD21-0598-C346-9B86-571D983DA3ED}"/>
          </ac:spMkLst>
        </pc:spChg>
        <pc:picChg chg="mod">
          <ac:chgData name="Sinha, Aman" userId="acd6a88c-5a2e-4afa-9ff2-2f334abdb327" providerId="ADAL" clId="{BA45ECF5-0800-429A-962F-ECADE0BC6F6B}" dt="2024-02-29T10:35:25.328" v="67" actId="14100"/>
          <ac:picMkLst>
            <pc:docMk/>
            <pc:sldMk cId="1014096846" sldId="270"/>
            <ac:picMk id="4" creationId="{25CDCC0C-4C33-A505-7B98-32584A0457CC}"/>
          </ac:picMkLst>
        </pc:picChg>
      </pc:sldChg>
    </pc:docChg>
  </pc:docChgLst>
  <pc:docChgLst>
    <pc:chgData name="Sinha, Aman" userId="acd6a88c-5a2e-4afa-9ff2-2f334abdb327" providerId="ADAL" clId="{5789350B-4C58-494F-BB33-CE93C735B804}"/>
    <pc:docChg chg="modSld">
      <pc:chgData name="Sinha, Aman" userId="acd6a88c-5a2e-4afa-9ff2-2f334abdb327" providerId="ADAL" clId="{5789350B-4C58-494F-BB33-CE93C735B804}" dt="2024-01-12T16:49:29.762" v="49" actId="20577"/>
      <pc:docMkLst>
        <pc:docMk/>
      </pc:docMkLst>
      <pc:sldChg chg="modSp mod">
        <pc:chgData name="Sinha, Aman" userId="acd6a88c-5a2e-4afa-9ff2-2f334abdb327" providerId="ADAL" clId="{5789350B-4C58-494F-BB33-CE93C735B804}" dt="2024-01-12T16:49:29.762" v="49" actId="20577"/>
        <pc:sldMkLst>
          <pc:docMk/>
          <pc:sldMk cId="1014096846" sldId="270"/>
        </pc:sldMkLst>
        <pc:spChg chg="mod">
          <ac:chgData name="Sinha, Aman" userId="acd6a88c-5a2e-4afa-9ff2-2f334abdb327" providerId="ADAL" clId="{5789350B-4C58-494F-BB33-CE93C735B804}" dt="2024-01-12T16:49:29.762" v="49" actId="20577"/>
          <ac:spMkLst>
            <pc:docMk/>
            <pc:sldMk cId="1014096846" sldId="270"/>
            <ac:spMk id="38" creationId="{44F8E609-EFC2-4E4D-B07B-B60B35C4847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3910BD-5C24-44C0-B3AE-C21F1EBCDE2C}" type="datetimeFigureOut">
              <a:rPr lang="en-IE" smtClean="0"/>
              <a:t>25/04/2024</a:t>
            </a:fld>
            <a:endParaRPr lang="en-I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FB4DA3-728A-4B43-A457-9F2787D197EF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2428095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" name="Shape 298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299" name="Shape 299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>
            <a:lvl1pPr defTabSz="914400">
              <a:lnSpc>
                <a:spcPct val="100000"/>
              </a:lnSpc>
              <a:defRPr sz="12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59866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7067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65682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5"/>
            <a:ext cx="915236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3527070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6787393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4871596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D110ECB-1A42-E348-AC4D-E0718080F4C4}"/>
              </a:ext>
            </a:extLst>
          </p:cNvPr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7823042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3772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8679454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2013011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378431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0037693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45086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3050404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65289"/>
            <a:ext cx="11188699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646622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519494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09227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0019313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41950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194099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24580238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10305380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4374813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24525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493010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69851499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5104355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786590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6297041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9498362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114804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1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5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3340695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7289655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8947654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13874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194340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Title Text"/>
          <p:cNvSpPr txBox="1">
            <a:spLocks noGrp="1"/>
          </p:cNvSpPr>
          <p:nvPr>
            <p:ph type="title"/>
          </p:nvPr>
        </p:nvSpPr>
        <p:spPr>
          <a:xfrm>
            <a:off x="914400" y="694944"/>
            <a:ext cx="10363200" cy="594361"/>
          </a:xfrm>
          <a:prstGeom prst="rect">
            <a:avLst/>
          </a:prstGeom>
        </p:spPr>
        <p:txBody>
          <a:bodyPr lIns="0" tIns="0" rIns="0" bIns="0" anchor="b"/>
          <a:lstStyle>
            <a:lvl1pPr algn="l" defTabSz="685800">
              <a:lnSpc>
                <a:spcPct val="85000"/>
              </a:lnSpc>
              <a:defRPr sz="3600" spc="-75">
                <a:latin typeface="Chronicle Display Black"/>
                <a:ea typeface="Chronicle Display Black"/>
                <a:cs typeface="Chronicle Display Black"/>
                <a:sym typeface="Chronicle Display Black"/>
              </a:defRPr>
            </a:lvl1pPr>
          </a:lstStyle>
          <a:p>
            <a:r>
              <a:t>Title Text</a:t>
            </a:r>
          </a:p>
        </p:txBody>
      </p:sp>
      <p:sp>
        <p:nvSpPr>
          <p:cNvPr id="11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914721" y="1353312"/>
            <a:ext cx="10362880" cy="475489"/>
          </a:xfrm>
          <a:prstGeom prst="rect">
            <a:avLst/>
          </a:prstGeom>
        </p:spPr>
        <p:txBody>
          <a:bodyPr lIns="0" tIns="0" rIns="0" bIns="0" anchor="t"/>
          <a:lstStyle>
            <a:lvl1pPr marL="228600" indent="-228600" defTabSz="914400">
              <a:lnSpc>
                <a:spcPct val="130000"/>
              </a:lnSpc>
              <a:spcBef>
                <a:spcPts val="1000"/>
              </a:spcBef>
              <a:buSzTx/>
              <a:buNone/>
              <a:defRPr sz="1200" spc="-30">
                <a:latin typeface="Open Sans"/>
                <a:ea typeface="Open Sans"/>
                <a:cs typeface="Open Sans"/>
                <a:sym typeface="Open Sans"/>
              </a:defRPr>
            </a:lvl1pPr>
            <a:lvl2pPr marL="381000" indent="-152400" defTabSz="914400">
              <a:lnSpc>
                <a:spcPct val="130000"/>
              </a:lnSpc>
              <a:spcBef>
                <a:spcPts val="1000"/>
              </a:spcBef>
              <a:buSzPct val="75000"/>
              <a:defRPr sz="1200" spc="-30">
                <a:latin typeface="Open Sans"/>
                <a:ea typeface="Open Sans"/>
                <a:cs typeface="Open Sans"/>
                <a:sym typeface="Open Sans"/>
              </a:defRPr>
            </a:lvl2pPr>
            <a:lvl3pPr marL="628650" indent="-171450" defTabSz="914400">
              <a:lnSpc>
                <a:spcPct val="130000"/>
              </a:lnSpc>
              <a:spcBef>
                <a:spcPts val="1000"/>
              </a:spcBef>
              <a:buSzPct val="75000"/>
              <a:defRPr sz="1200" spc="-30">
                <a:latin typeface="Open Sans"/>
                <a:ea typeface="Open Sans"/>
                <a:cs typeface="Open Sans"/>
                <a:sym typeface="Open Sans"/>
              </a:defRPr>
            </a:lvl3pPr>
            <a:lvl4pPr marL="881743" indent="-195943" defTabSz="914400">
              <a:lnSpc>
                <a:spcPct val="130000"/>
              </a:lnSpc>
              <a:spcBef>
                <a:spcPts val="1000"/>
              </a:spcBef>
              <a:buSzPct val="75000"/>
              <a:defRPr sz="1200" spc="-30">
                <a:latin typeface="Open Sans"/>
                <a:ea typeface="Open Sans"/>
                <a:cs typeface="Open Sans"/>
                <a:sym typeface="Open Sans"/>
              </a:defRPr>
            </a:lvl4pPr>
            <a:lvl5pPr marL="1110343" indent="-195943" defTabSz="914400">
              <a:lnSpc>
                <a:spcPct val="130000"/>
              </a:lnSpc>
              <a:spcBef>
                <a:spcPts val="1000"/>
              </a:spcBef>
              <a:buSzPct val="75000"/>
              <a:defRPr sz="1200" spc="-30">
                <a:latin typeface="Open Sans"/>
                <a:ea typeface="Open Sans"/>
                <a:cs typeface="Open Sans"/>
                <a:sym typeface="Open Sans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 lIns="91439" tIns="91439" rIns="91439" bIns="91439" anchor="ctr"/>
          <a:lstStyle>
            <a:lvl1pPr algn="r" defTabSz="914400">
              <a:defRPr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20354757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890642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292075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5080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992680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51" y="6477001"/>
            <a:ext cx="535516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800" b="0" dirty="0">
                <a:solidFill>
                  <a:schemeClr val="bg1"/>
                </a:solidFill>
                <a:effectLst/>
                <a:latin typeface="Arial"/>
                <a:ea typeface="Times New Roman"/>
                <a:cs typeface="Arial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60009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TextBox 17"/>
          <p:cNvSpPr txBox="1"/>
          <p:nvPr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rgbClr val="000000"/>
                </a:solidFill>
                <a:effectLst/>
                <a:latin typeface="+mn-lt"/>
                <a:ea typeface="Times New Roman"/>
                <a:cs typeface="Verdana"/>
              </a:rPr>
              <a:t>© 2021 DTTILLP. All rights reserved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9501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177">
            <a:extLst>
              <a:ext uri="{FF2B5EF4-FFF2-40B4-BE49-F238E27FC236}">
                <a16:creationId xmlns:a16="http://schemas.microsoft.com/office/drawing/2014/main" id="{44F8E609-EFC2-4E4D-B07B-B60B35C48477}"/>
              </a:ext>
            </a:extLst>
          </p:cNvPr>
          <p:cNvSpPr txBox="1">
            <a:spLocks/>
          </p:cNvSpPr>
          <p:nvPr/>
        </p:nvSpPr>
        <p:spPr>
          <a:xfrm>
            <a:off x="1732301" y="327904"/>
            <a:ext cx="10002995" cy="6662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Autofit/>
          </a:bodyPr>
          <a:lstStyle>
            <a:lvl1pPr algn="l" defTabSz="914400">
              <a:lnSpc>
                <a:spcPct val="90000"/>
              </a:lnSpc>
              <a:defRPr sz="5000" cap="all" spc="0">
                <a:solidFill>
                  <a:schemeClr val="bg1"/>
                </a:solidFill>
                <a:latin typeface="Knockout HTF26-JuniorFlyweight"/>
                <a:ea typeface="Knockout HTF26-JuniorFlyweight"/>
                <a:cs typeface="Knockout HTF26-JuniorFlyweight"/>
                <a:sym typeface="Knockout HTF26-JuniorFlyweight"/>
              </a:defRPr>
            </a:lvl1pPr>
            <a:lvl2pPr algn="ctr" defTabSz="825500">
              <a:defRPr sz="5600"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algn="ctr" defTabSz="825500">
              <a:defRPr sz="5600"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algn="ctr" defTabSz="825500">
              <a:defRPr sz="5600"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algn="ctr" defTabSz="825500">
              <a:defRPr sz="5600"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algn="ctr" defTabSz="825500">
              <a:defRPr sz="5600"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algn="ctr" defTabSz="825500">
              <a:defRPr sz="5600"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algn="ctr" defTabSz="825500">
              <a:defRPr sz="5600"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algn="ctr" defTabSz="825500">
              <a:defRPr sz="5600"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>
              <a:defRPr sz="1800" cap="none"/>
            </a:pPr>
            <a:r>
              <a:rPr lang="en-US" sz="2400" kern="0" cap="none" dirty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Aman Sinha </a:t>
            </a:r>
            <a:r>
              <a:rPr lang="en-US" sz="2400" kern="0" cap="none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| Analyst</a:t>
            </a:r>
            <a:endParaRPr lang="en-GB" sz="2400" kern="0" cap="none" dirty="0">
              <a:solidFill>
                <a:schemeClr val="tx1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Textplatzhalter 21">
            <a:extLst>
              <a:ext uri="{FF2B5EF4-FFF2-40B4-BE49-F238E27FC236}">
                <a16:creationId xmlns:a16="http://schemas.microsoft.com/office/drawing/2014/main" id="{B1900919-1431-8A4C-A506-B21D5CCA9D3C}"/>
              </a:ext>
            </a:extLst>
          </p:cNvPr>
          <p:cNvSpPr txBox="1">
            <a:spLocks/>
          </p:cNvSpPr>
          <p:nvPr/>
        </p:nvSpPr>
        <p:spPr>
          <a:xfrm>
            <a:off x="510092" y="1722001"/>
            <a:ext cx="4943256" cy="4689815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300"/>
              </a:spcBef>
              <a:spcAft>
                <a:spcPts val="0"/>
              </a:spcAft>
              <a:defRPr/>
            </a:pPr>
            <a:r>
              <a:rPr lang="en-IE" b="1" dirty="0"/>
              <a:t>Professional Summary: </a:t>
            </a:r>
            <a:endParaRPr lang="en-IE" b="1" dirty="0">
              <a:solidFill>
                <a:prstClr val="black"/>
              </a:solidFill>
            </a:endParaRPr>
          </a:p>
          <a:p>
            <a:pPr algn="just">
              <a:spcBef>
                <a:spcPts val="300"/>
              </a:spcBef>
              <a:spcAft>
                <a:spcPts val="0"/>
              </a:spcAft>
              <a:defRPr/>
            </a:pPr>
            <a:r>
              <a:rPr lang="en-US" b="0" i="0" dirty="0">
                <a:effectLst/>
                <a:latin typeface="+mj-lt"/>
              </a:rPr>
              <a:t>Aman, an Analyst with over 8+ months of experience in MySQL, and Python. He is located in Delhi, India, and brings valuable expertise to the team. Aman is known for his strong problem-solving abilities and demonstrates high motivation towards achieving goals.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I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Relevant skills: </a:t>
            </a:r>
            <a:endParaRPr lang="en-IE" dirty="0">
              <a:solidFill>
                <a:prstClr val="black"/>
              </a:solidFill>
              <a:latin typeface="+mj-lt"/>
            </a:endParaRPr>
          </a:p>
          <a:p>
            <a:pPr marL="171450" lvl="2" indent="-171450" algn="just">
              <a:spcBef>
                <a:spcPts val="600"/>
              </a:spcBef>
              <a:spcAft>
                <a:spcPts val="0"/>
              </a:spcAft>
              <a:defRPr/>
            </a:pPr>
            <a:r>
              <a:rPr lang="en-US" dirty="0">
                <a:solidFill>
                  <a:prstClr val="black"/>
                </a:solidFill>
                <a:latin typeface="+mj-lt"/>
              </a:rPr>
              <a:t>ETL Tools: </a:t>
            </a:r>
            <a:r>
              <a:rPr lang="en-US" dirty="0" err="1">
                <a:solidFill>
                  <a:prstClr val="black"/>
                </a:solidFill>
                <a:latin typeface="+mj-lt"/>
              </a:rPr>
              <a:t>Python,Pyspark</a:t>
            </a:r>
            <a:endParaRPr lang="en-US" dirty="0">
              <a:solidFill>
                <a:prstClr val="black"/>
              </a:solidFill>
              <a:latin typeface="+mj-lt"/>
            </a:endParaRPr>
          </a:p>
          <a:p>
            <a:pPr marL="171450" lvl="2" indent="-171450" algn="just">
              <a:spcBef>
                <a:spcPts val="600"/>
              </a:spcBef>
              <a:spcAft>
                <a:spcPts val="0"/>
              </a:spcAft>
              <a:defRPr/>
            </a:pPr>
            <a:r>
              <a:rPr lang="en-US" dirty="0">
                <a:solidFill>
                  <a:prstClr val="black"/>
                </a:solidFill>
                <a:latin typeface="+mj-lt"/>
              </a:rPr>
              <a:t>Data base: SQL, </a:t>
            </a:r>
            <a:r>
              <a:rPr lang="en-US" dirty="0" err="1">
                <a:solidFill>
                  <a:prstClr val="black"/>
                </a:solidFill>
                <a:latin typeface="+mj-lt"/>
              </a:rPr>
              <a:t>MySql</a:t>
            </a:r>
            <a:r>
              <a:rPr lang="en-US" dirty="0">
                <a:solidFill>
                  <a:prstClr val="black"/>
                </a:solidFill>
                <a:latin typeface="+mj-lt"/>
              </a:rPr>
              <a:t>, SSMS</a:t>
            </a:r>
          </a:p>
          <a:p>
            <a:pPr marL="171450" lvl="2" indent="-171450" algn="just">
              <a:spcBef>
                <a:spcPts val="600"/>
              </a:spcBef>
              <a:spcAft>
                <a:spcPts val="0"/>
              </a:spcAft>
              <a:defRPr/>
            </a:pPr>
            <a:r>
              <a:rPr lang="en-US" dirty="0">
                <a:solidFill>
                  <a:prstClr val="black"/>
                </a:solidFill>
                <a:latin typeface="+mj-lt"/>
              </a:rPr>
              <a:t>Other: Azure </a:t>
            </a:r>
            <a:r>
              <a:rPr lang="en-US" dirty="0" err="1">
                <a:solidFill>
                  <a:prstClr val="black"/>
                </a:solidFill>
                <a:latin typeface="+mj-lt"/>
              </a:rPr>
              <a:t>Databricks,Azure</a:t>
            </a:r>
            <a:r>
              <a:rPr lang="en-US" dirty="0">
                <a:solidFill>
                  <a:prstClr val="black"/>
                </a:solidFill>
                <a:latin typeface="+mj-lt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+mj-lt"/>
              </a:rPr>
              <a:t>DataFactory</a:t>
            </a:r>
            <a:endParaRPr lang="en-US" dirty="0">
              <a:solidFill>
                <a:prstClr val="black"/>
              </a:solidFill>
              <a:latin typeface="+mj-lt"/>
            </a:endParaRPr>
          </a:p>
          <a:p>
            <a:pPr marL="0" marR="0" lvl="2" indent="0" algn="just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I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Education:</a:t>
            </a:r>
            <a:r>
              <a:rPr kumimoji="0" lang="en-IE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endParaRPr lang="en-US" b="1" dirty="0">
              <a:solidFill>
                <a:srgbClr val="FF0000"/>
              </a:solidFill>
              <a:latin typeface="+mj-lt"/>
            </a:endParaRPr>
          </a:p>
          <a:p>
            <a:pPr marL="0" marR="0" lvl="2" indent="0" algn="just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IE" dirty="0">
                <a:latin typeface="+mj-lt"/>
              </a:rPr>
              <a:t>Bachelor Of Technology, VIT-Chennai (2023)</a:t>
            </a:r>
          </a:p>
          <a:p>
            <a:pPr marL="0" lvl="2" indent="0">
              <a:spcBef>
                <a:spcPts val="1200"/>
              </a:spcBef>
              <a:spcAft>
                <a:spcPts val="0"/>
              </a:spcAft>
              <a:buNone/>
              <a:defRPr/>
            </a:pPr>
            <a:r>
              <a:rPr lang="en-GB" b="1" dirty="0">
                <a:latin typeface="+mj-lt"/>
              </a:rPr>
              <a:t>Certifications:</a:t>
            </a:r>
            <a:r>
              <a:rPr lang="en-GB" b="1" dirty="0">
                <a:solidFill>
                  <a:schemeClr val="accent1"/>
                </a:solidFill>
                <a:latin typeface="+mj-lt"/>
              </a:rPr>
              <a:t> </a:t>
            </a:r>
            <a:endParaRPr lang="en-GB" b="1" dirty="0">
              <a:solidFill>
                <a:schemeClr val="tx2"/>
              </a:solidFill>
              <a:latin typeface="+mj-lt"/>
              <a:cs typeface="Times New Roman" panose="02020603050405020304" pitchFamily="18" charset="0"/>
            </a:endParaRPr>
          </a:p>
          <a:p>
            <a:pPr marL="176213" lvl="2" indent="-176213">
              <a:spcBef>
                <a:spcPts val="300"/>
              </a:spcBef>
              <a:spcAft>
                <a:spcPts val="0"/>
              </a:spcAft>
              <a:defRPr/>
            </a:pPr>
            <a:r>
              <a:rPr lang="en-US" dirty="0">
                <a:solidFill>
                  <a:prstClr val="black"/>
                </a:solidFill>
                <a:latin typeface="+mj-lt"/>
              </a:rPr>
              <a:t>Azure Data Factory | Data Engineering on Cloud (Udemy)</a:t>
            </a:r>
          </a:p>
          <a:p>
            <a:pPr marL="176213" lvl="2" indent="-176213">
              <a:spcBef>
                <a:spcPts val="300"/>
              </a:spcBef>
              <a:spcAft>
                <a:spcPts val="0"/>
              </a:spcAft>
              <a:defRPr/>
            </a:pPr>
            <a:r>
              <a:rPr lang="en-US" dirty="0">
                <a:solidFill>
                  <a:prstClr val="black"/>
                </a:solidFill>
                <a:latin typeface="+mj-lt"/>
              </a:rPr>
              <a:t>AZ-900</a:t>
            </a:r>
            <a:endParaRPr lang="en-GB" dirty="0">
              <a:solidFill>
                <a:prstClr val="black"/>
              </a:solidFill>
              <a:latin typeface="+mj-lt"/>
            </a:endParaRPr>
          </a:p>
          <a:p>
            <a:pPr algn="just">
              <a:spcBef>
                <a:spcPts val="300"/>
              </a:spcBef>
              <a:spcAft>
                <a:spcPts val="0"/>
              </a:spcAft>
              <a:defRPr/>
            </a:pPr>
            <a:endParaRPr kumimoji="0" lang="en-IE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1" name="Textplatzhalter 22">
            <a:extLst>
              <a:ext uri="{FF2B5EF4-FFF2-40B4-BE49-F238E27FC236}">
                <a16:creationId xmlns:a16="http://schemas.microsoft.com/office/drawing/2014/main" id="{C650DD21-0598-C346-9B86-571D983DA3ED}"/>
              </a:ext>
            </a:extLst>
          </p:cNvPr>
          <p:cNvSpPr txBox="1">
            <a:spLocks/>
          </p:cNvSpPr>
          <p:nvPr/>
        </p:nvSpPr>
        <p:spPr>
          <a:xfrm>
            <a:off x="5853905" y="1722002"/>
            <a:ext cx="5704735" cy="468981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numCol="1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I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Key Projects: </a:t>
            </a:r>
            <a:endParaRPr lang="en-US" b="1" dirty="0">
              <a:solidFill>
                <a:srgbClr val="FF0000"/>
              </a:solidFill>
              <a:latin typeface="+mj-lt"/>
            </a:endParaRPr>
          </a:p>
          <a:p>
            <a:pPr lvl="2">
              <a:spcBef>
                <a:spcPts val="60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rgbClr val="FF0000"/>
                </a:solidFill>
                <a:latin typeface="+mj-lt"/>
              </a:rPr>
              <a:t>Unilever(E.D.I.T.H)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900" b="0" i="0" dirty="0">
                <a:effectLst/>
              </a:rPr>
              <a:t>Developed Spark applications using Spark SQL in Databricks for data extraction, transformation, and aggregation across multiple file formats, facilitating comprehensive data analysis and transformation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900" b="0" i="0" dirty="0">
                <a:effectLst/>
              </a:rPr>
              <a:t>Proficient in data quality assessment utilizing Databricks and </a:t>
            </a:r>
            <a:r>
              <a:rPr lang="en-US" sz="900" b="0" i="0" dirty="0" err="1">
                <a:effectLst/>
              </a:rPr>
              <a:t>PySpark</a:t>
            </a:r>
            <a:r>
              <a:rPr lang="en-US" sz="900" b="0" i="0" dirty="0">
                <a:effectLst/>
              </a:rPr>
              <a:t>, collaborating with clients to enhance and maintain high data standard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900" b="0" i="0" dirty="0">
                <a:effectLst/>
              </a:rPr>
              <a:t>Designed and implemented efficient pipelines in Azure Data Factory using T-SQL and Spark SQL, ensuring seamless ETL processes for optimal data movement and transformation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900" b="0" i="0" dirty="0">
                <a:effectLst/>
              </a:rPr>
              <a:t>Demonstrated expertise in cost reduction through the implementation of automation scripts, resulting in substantial operational savings and streamlined processe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900" b="0" i="0" dirty="0">
                <a:effectLst/>
              </a:rPr>
              <a:t>Managed diverse data ingestion and extraction processes, optimizing the codebase to achieve faster and cost-effective data delivery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900" b="0" i="0" dirty="0">
                <a:effectLst/>
              </a:rPr>
              <a:t>Collaborated on complex problem-solving with cross-functional teams, ensuring the smooth execution of data processes and effective communication with data provider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900" b="0" i="0" dirty="0">
                <a:effectLst/>
              </a:rPr>
              <a:t>Maintained a delicate balance between speed and accuracy to ensure timely high-quality data delivery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900" b="0" i="0" dirty="0">
                <a:effectLst/>
              </a:rPr>
              <a:t>Integral part of the Unilever invoice team, overseeing the end-to-end verification and processing of incoming invoices, as well as managing the reception and processing of payments made by clients to the company.</a:t>
            </a:r>
          </a:p>
          <a:p>
            <a:pPr lvl="2">
              <a:spcBef>
                <a:spcPts val="600"/>
              </a:spcBef>
              <a:spcAft>
                <a:spcPts val="0"/>
              </a:spcAft>
              <a:defRPr/>
            </a:pPr>
            <a:endParaRPr lang="en-US" b="1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2D6E408-E16A-459F-9C1F-007C7E4EF412}"/>
              </a:ext>
            </a:extLst>
          </p:cNvPr>
          <p:cNvSpPr txBox="1"/>
          <p:nvPr/>
        </p:nvSpPr>
        <p:spPr>
          <a:xfrm>
            <a:off x="1844122" y="937995"/>
            <a:ext cx="9075539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buSzPct val="100000"/>
            </a:pPr>
            <a:r>
              <a:rPr lang="en-US" sz="1200" dirty="0">
                <a:solidFill>
                  <a:srgbClr val="313131"/>
                </a:solidFill>
              </a:rPr>
              <a:t>asinha16@deloitte.com | </a:t>
            </a:r>
            <a:r>
              <a:rPr lang="en-US" sz="1200" dirty="0"/>
              <a:t>Deloitte Touche Tohmatsu India LLP</a:t>
            </a:r>
            <a:endParaRPr lang="en-US" sz="1200" dirty="0">
              <a:solidFill>
                <a:srgbClr val="313131"/>
              </a:solidFill>
            </a:endParaRPr>
          </a:p>
          <a:p>
            <a:pPr>
              <a:spcBef>
                <a:spcPts val="300"/>
              </a:spcBef>
              <a:buSzPct val="100000"/>
            </a:pPr>
            <a:r>
              <a:rPr lang="en-US" sz="1200" dirty="0"/>
              <a:t>Mobile: +91-9818497930</a:t>
            </a:r>
          </a:p>
          <a:p>
            <a:pPr>
              <a:spcBef>
                <a:spcPts val="300"/>
              </a:spcBef>
              <a:buSzPct val="100000"/>
            </a:pPr>
            <a:r>
              <a:rPr lang="en-US" sz="1200" dirty="0"/>
              <a:t>Location: Delhi </a:t>
            </a:r>
            <a:endParaRPr lang="en-US" sz="1200" dirty="0">
              <a:solidFill>
                <a:srgbClr val="31313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7345FE2-13AB-467A-996B-890D3EFDA553}"/>
              </a:ext>
            </a:extLst>
          </p:cNvPr>
          <p:cNvSpPr/>
          <p:nvPr/>
        </p:nvSpPr>
        <p:spPr bwMode="gray">
          <a:xfrm>
            <a:off x="510092" y="194299"/>
            <a:ext cx="1222209" cy="1394098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PHOT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5CDCC0C-4C33-A505-7B98-32584A0457C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0091" y="191241"/>
            <a:ext cx="1222209" cy="1394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09684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_4_3_Onscreen_bria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AF1A70C7-FD3D-8248-98DD-3BFDFA8326E4}" vid="{4C01A754-CFD2-C040-AC05-66513B253C2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438</TotalTime>
  <Words>326</Words>
  <Application>Microsoft Office PowerPoint</Application>
  <PresentationFormat>Widescreen</PresentationFormat>
  <Paragraphs>2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hronicle Display Black</vt:lpstr>
      <vt:lpstr>Open Sans</vt:lpstr>
      <vt:lpstr>Verdana</vt:lpstr>
      <vt:lpstr>Wingdings 2</vt:lpstr>
      <vt:lpstr>1_Deloitte_4_3_Onscreen_brian</vt:lpstr>
      <vt:lpstr>think-cell Slide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orgo, Dorottya</dc:creator>
  <cp:lastModifiedBy>Sinha, Aman</cp:lastModifiedBy>
  <cp:revision>318</cp:revision>
  <cp:lastPrinted>2019-08-12T14:38:01Z</cp:lastPrinted>
  <dcterms:created xsi:type="dcterms:W3CDTF">2019-08-12T08:41:23Z</dcterms:created>
  <dcterms:modified xsi:type="dcterms:W3CDTF">2024-04-25T05:27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7-30T04:58:15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984d358b-fe3c-43aa-aee8-3afe79affa35</vt:lpwstr>
  </property>
  <property fmtid="{D5CDD505-2E9C-101B-9397-08002B2CF9AE}" pid="8" name="MSIP_Label_ea60d57e-af5b-4752-ac57-3e4f28ca11dc_ContentBits">
    <vt:lpwstr>0</vt:lpwstr>
  </property>
</Properties>
</file>